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65" r:id="rId5"/>
    <p:sldId id="270" r:id="rId6"/>
    <p:sldId id="271" r:id="rId7"/>
    <p:sldId id="272" r:id="rId8"/>
    <p:sldId id="279" r:id="rId9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3" d="100"/>
          <a:sy n="63" d="100"/>
        </p:scale>
        <p:origin x="1378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2198C5-BF5B-49F8-BDF8-8DB9B4A0324D}" type="datetimeFigureOut">
              <a:rPr lang="en-US" smtClean="0"/>
              <a:pPr/>
              <a:t>2/2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DFACF1-938A-40B0-93A5-E2A7E62BD21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553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09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152B59-7A72-4333-9E5F-9E16266193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720975"/>
            <a:ext cx="7772400" cy="1470025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Web Portal Training – Supplier Access/View of Delivery Scorecards</a:t>
            </a:r>
            <a:br>
              <a:rPr lang="en-US" sz="2700" dirty="0"/>
            </a:br>
            <a:r>
              <a:rPr lang="en-US" sz="2000" dirty="0"/>
              <a:t>Scope: Instructions on Accessing and Viewing Quality Scorecards.</a:t>
            </a:r>
            <a:endParaRPr lang="en-US" sz="3200" dirty="0"/>
          </a:p>
        </p:txBody>
      </p:sp>
      <p:pic>
        <p:nvPicPr>
          <p:cNvPr id="4" name="Picture 11" descr="TG_2C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5874" y="652689"/>
            <a:ext cx="2160588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65113" y="2036763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301625" y="5030788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89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0CAD0F8-7B07-4DA9-8BD8-F69CA7ED7DE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340" t="15409" r="1404" b="6062"/>
          <a:stretch/>
        </p:blipFill>
        <p:spPr>
          <a:xfrm>
            <a:off x="593238" y="1088865"/>
            <a:ext cx="7852770" cy="493291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0"/>
            <a:ext cx="3352800" cy="4572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ccessing and Viewing</a:t>
            </a:r>
            <a:r>
              <a:rPr kumimoji="0" lang="en-US" b="0" i="0" u="none" strike="noStrike" kern="1200" cap="none" spc="0" normalizeH="0" noProof="0" dirty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elivery Scorecards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24200" y="2925367"/>
            <a:ext cx="4495800" cy="20313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/>
              <a:t>From the Sub-menu you can select:</a:t>
            </a:r>
          </a:p>
          <a:p>
            <a:r>
              <a:rPr lang="en-US" dirty="0"/>
              <a:t>-Overview – Describes the scoring and ratings for Quality and Delivery</a:t>
            </a:r>
          </a:p>
          <a:p>
            <a:r>
              <a:rPr lang="en-US" dirty="0"/>
              <a:t>-Quality Snapshot Report – Scorecard of Quality Performance</a:t>
            </a:r>
          </a:p>
          <a:p>
            <a:r>
              <a:rPr lang="en-US" dirty="0"/>
              <a:t>-Delivery Snapshot Report – Scorecard of Delivery Performance </a:t>
            </a:r>
          </a:p>
        </p:txBody>
      </p:sp>
      <p:sp>
        <p:nvSpPr>
          <p:cNvPr id="8" name="Rectangle 7"/>
          <p:cNvSpPr/>
          <p:nvPr/>
        </p:nvSpPr>
        <p:spPr>
          <a:xfrm>
            <a:off x="4519623" y="87869"/>
            <a:ext cx="4495800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/>
              <a:t>After Logging in, select Performance Reports 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6248400" y="457201"/>
            <a:ext cx="0" cy="9144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cxnSpLocks/>
          </p:cNvCxnSpPr>
          <p:nvPr/>
        </p:nvCxnSpPr>
        <p:spPr>
          <a:xfrm flipV="1">
            <a:off x="6096000" y="2541319"/>
            <a:ext cx="0" cy="384048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2667000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/>
              <a:t>Delivery Snapshot Report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85800" y="533400"/>
            <a:ext cx="7848600" cy="5651500"/>
            <a:chOff x="838200" y="533400"/>
            <a:chExt cx="7848600" cy="5651500"/>
          </a:xfrm>
        </p:grpSpPr>
        <p:pic>
          <p:nvPicPr>
            <p:cNvPr id="14" name="Picture 13"/>
            <p:cNvPicPr>
              <a:picLocks noChangeAspect="1" noChangeArrowheads="1"/>
            </p:cNvPicPr>
            <p:nvPr/>
          </p:nvPicPr>
          <p:blipFill>
            <a:blip r:embed="rId2" cstate="print"/>
            <a:srcRect l="18802" t="10278" r="21302" b="7315"/>
            <a:stretch>
              <a:fillRect/>
            </a:stretch>
          </p:blipFill>
          <p:spPr bwMode="auto">
            <a:xfrm>
              <a:off x="838200" y="533400"/>
              <a:ext cx="7302500" cy="5651500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sp>
          <p:nvSpPr>
            <p:cNvPr id="11" name="Rectangle 10"/>
            <p:cNvSpPr/>
            <p:nvPr/>
          </p:nvSpPr>
          <p:spPr>
            <a:xfrm>
              <a:off x="4724400" y="1447800"/>
              <a:ext cx="3962400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895600" y="3429000"/>
              <a:ext cx="3962400" cy="1524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819400" y="1600200"/>
              <a:ext cx="2133600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5"/>
          <p:cNvSpPr/>
          <p:nvPr/>
        </p:nvSpPr>
        <p:spPr>
          <a:xfrm>
            <a:off x="5181600" y="2362200"/>
            <a:ext cx="3124200" cy="6463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/>
              <a:t>Delivery Report for </a:t>
            </a:r>
            <a:r>
              <a:rPr lang="en-US" i="1" dirty="0"/>
              <a:t>All TRIUMPH GROUP COMPANIES</a:t>
            </a:r>
          </a:p>
        </p:txBody>
      </p:sp>
      <p:sp>
        <p:nvSpPr>
          <p:cNvPr id="9" name="Rectangle 8"/>
          <p:cNvSpPr/>
          <p:nvPr/>
        </p:nvSpPr>
        <p:spPr>
          <a:xfrm>
            <a:off x="7848600" y="3733800"/>
            <a:ext cx="1295400" cy="95410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/>
              <a:t>12 Month rolling Delivery Yield Percentage bar 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 flipH="1">
            <a:off x="4267200" y="2971800"/>
            <a:ext cx="914400" cy="6858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990600" y="4724400"/>
            <a:ext cx="1447800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/>
              <a:t>Monthly Delivery Yield Percentage</a:t>
            </a: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2438400" y="5029200"/>
            <a:ext cx="457200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2667000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/>
              <a:t>Delivery Snapshot Report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762000" y="914400"/>
            <a:ext cx="7340600" cy="5721350"/>
            <a:chOff x="-6705600" y="1524000"/>
            <a:chExt cx="7340600" cy="5721350"/>
          </a:xfrm>
        </p:grpSpPr>
        <p:pic>
          <p:nvPicPr>
            <p:cNvPr id="12" name="Picture 11"/>
            <p:cNvPicPr>
              <a:picLocks noChangeAspect="1" noChangeArrowheads="1"/>
            </p:cNvPicPr>
            <p:nvPr/>
          </p:nvPicPr>
          <p:blipFill>
            <a:blip r:embed="rId2" cstate="print"/>
            <a:srcRect l="18906" t="10000" r="20885" b="6574"/>
            <a:stretch>
              <a:fillRect/>
            </a:stretch>
          </p:blipFill>
          <p:spPr bwMode="auto">
            <a:xfrm>
              <a:off x="-6705600" y="1524000"/>
              <a:ext cx="7340600" cy="5721350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sp>
          <p:nvSpPr>
            <p:cNvPr id="9" name="Rectangle 8"/>
            <p:cNvSpPr/>
            <p:nvPr/>
          </p:nvSpPr>
          <p:spPr>
            <a:xfrm>
              <a:off x="-4648200" y="4343400"/>
              <a:ext cx="2971800" cy="2286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0" name="Straight Arrow Connector 9"/>
          <p:cNvCxnSpPr/>
          <p:nvPr/>
        </p:nvCxnSpPr>
        <p:spPr>
          <a:xfrm flipH="1">
            <a:off x="4191000" y="2209800"/>
            <a:ext cx="533400" cy="76200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4648200" y="1295400"/>
            <a:ext cx="3657600" cy="9233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o view a Specific Business Unit:  Using down arrow select the appropriate Business Unit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029200" y="3429000"/>
            <a:ext cx="3124200" cy="9233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/>
              <a:t>Delivery Report for </a:t>
            </a:r>
            <a:r>
              <a:rPr lang="en-US" i="1" dirty="0"/>
              <a:t>Triumph Actuation  Systems </a:t>
            </a:r>
            <a:r>
              <a:rPr lang="en-US" i="1"/>
              <a:t>– Clemmons,  </a:t>
            </a:r>
            <a:r>
              <a:rPr lang="en-US" i="1" dirty="0"/>
              <a:t>NC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57200" y="5486400"/>
            <a:ext cx="2438400" cy="523220"/>
            <a:chOff x="1066800" y="5257800"/>
            <a:chExt cx="2438400" cy="523220"/>
          </a:xfrm>
        </p:grpSpPr>
        <p:sp>
          <p:nvSpPr>
            <p:cNvPr id="16" name="Rectangle 15"/>
            <p:cNvSpPr/>
            <p:nvPr/>
          </p:nvSpPr>
          <p:spPr>
            <a:xfrm>
              <a:off x="1066800" y="5257800"/>
              <a:ext cx="1447800" cy="52322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400" dirty="0"/>
                <a:t>For Detailed List click on Month</a:t>
              </a:r>
            </a:p>
          </p:txBody>
        </p:sp>
        <p:cxnSp>
          <p:nvCxnSpPr>
            <p:cNvPr id="17" name="Straight Arrow Connector 16"/>
            <p:cNvCxnSpPr/>
            <p:nvPr/>
          </p:nvCxnSpPr>
          <p:spPr>
            <a:xfrm>
              <a:off x="2514600" y="5638800"/>
              <a:ext cx="99060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 A 02/27/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52B59-7A72-4333-9E5F-9E16266193D8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 cstate="print"/>
          <a:srcRect t="11482" b="16481"/>
          <a:stretch>
            <a:fillRect/>
          </a:stretch>
        </p:blipFill>
        <p:spPr bwMode="auto">
          <a:xfrm>
            <a:off x="457200" y="1066800"/>
            <a:ext cx="8077200" cy="4587875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sp>
        <p:nvSpPr>
          <p:cNvPr id="7" name="Rectangle 6"/>
          <p:cNvSpPr/>
          <p:nvPr/>
        </p:nvSpPr>
        <p:spPr>
          <a:xfrm>
            <a:off x="0" y="0"/>
            <a:ext cx="2667000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/>
              <a:t>Delivery Snapshot Report</a:t>
            </a:r>
          </a:p>
        </p:txBody>
      </p:sp>
      <p:sp>
        <p:nvSpPr>
          <p:cNvPr id="8" name="Rectangle 7"/>
          <p:cNvSpPr/>
          <p:nvPr/>
        </p:nvSpPr>
        <p:spPr>
          <a:xfrm>
            <a:off x="2743200" y="762000"/>
            <a:ext cx="5562600" cy="9233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/>
              <a:t>Detailed Monthly Report shows Batch ID #, BU Supplier ID, PO#, Part No., Qty Early/Late, Qty On Time, Received </a:t>
            </a:r>
            <a:r>
              <a:rPr lang="en-US"/>
              <a:t>Date, and </a:t>
            </a:r>
            <a:r>
              <a:rPr lang="en-US" dirty="0"/>
              <a:t>Due Dat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72F547B8539F4FB013F5CE3D0F4EAB" ma:contentTypeVersion="0" ma:contentTypeDescription="Create a new document." ma:contentTypeScope="" ma:versionID="c95fdb918ae7e398dce7885d8c92835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497B669-77F1-4EEB-B218-E333C31BC1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670B74A-EDE1-4B0D-8B26-21ADB557AC2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691A6BD-0F7B-4878-8CC3-0DFCACE12ED4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dcmitype/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11</TotalTime>
  <Words>170</Words>
  <Application>Microsoft Office PowerPoint</Application>
  <PresentationFormat>On-screen Show (4:3)</PresentationFormat>
  <Paragraphs>28</Paragraphs>
  <Slides>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Arial</vt:lpstr>
      <vt:lpstr>Calibri</vt:lpstr>
      <vt:lpstr>Office Theme</vt:lpstr>
      <vt:lpstr>Web Portal Training – Supplier Access/View of Delivery Scorecards Scope: Instructions on Accessing and Viewing Quality Scorecards.</vt:lpstr>
      <vt:lpstr>PowerPoint Presentation</vt:lpstr>
      <vt:lpstr>PowerPoint Presentation</vt:lpstr>
      <vt:lpstr>PowerPoint Presentation</vt:lpstr>
      <vt:lpstr>PowerPoint Presentation</vt:lpstr>
    </vt:vector>
  </TitlesOfParts>
  <Company>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Portal Training – Left Margin</dc:title>
  <dc:creator>ewillford</dc:creator>
  <cp:lastModifiedBy>Willford, Eric</cp:lastModifiedBy>
  <cp:revision>107</cp:revision>
  <dcterms:created xsi:type="dcterms:W3CDTF">2013-11-27T17:35:44Z</dcterms:created>
  <dcterms:modified xsi:type="dcterms:W3CDTF">2018-02-27T21:2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72F547B8539F4FB013F5CE3D0F4EAB</vt:lpwstr>
  </property>
</Properties>
</file>